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5084" r:id="rId4"/>
  </p:sldMasterIdLst>
  <p:notesMasterIdLst>
    <p:notesMasterId r:id="rId20"/>
  </p:notesMasterIdLst>
  <p:handoutMasterIdLst>
    <p:handoutMasterId r:id="rId21"/>
  </p:handoutMasterIdLst>
  <p:sldIdLst>
    <p:sldId id="275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61" r:id="rId19"/>
  </p:sldIdLst>
  <p:sldSz cx="12192000" cy="6858000"/>
  <p:notesSz cx="6797675" cy="9926638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Noto Sans" panose="020B0502040504020204" pitchFamily="34" charset="0"/>
      <p:regular r:id="rId26"/>
      <p:bold r:id="rId27"/>
      <p:italic r:id="rId28"/>
      <p:boldItalic r:id="rId29"/>
    </p:embeddedFont>
    <p:embeddedFont>
      <p:font typeface="Outfit" pitchFamily="2" charset="0"/>
      <p:regular r:id="rId30"/>
      <p:bold r:id="rId31"/>
    </p:embeddedFont>
    <p:embeddedFont>
      <p:font typeface="Outfit ExtraBold" pitchFamily="2" charset="0"/>
      <p:bold r:id="rId32"/>
    </p:embeddedFont>
    <p:embeddedFont>
      <p:font typeface="Rubik" pitchFamily="2" charset="-79"/>
      <p:regular r:id="rId33"/>
      <p:bold r:id="rId34"/>
      <p:italic r:id="rId35"/>
      <p:boldItalic r:id="rId36"/>
    </p:embeddedFont>
    <p:embeddedFont>
      <p:font typeface="Rubik SemiBold" pitchFamily="2" charset="-79"/>
      <p:regular r:id="rId37"/>
      <p:bold r:id="rId38"/>
      <p:italic r:id="rId39"/>
      <p:boldItalic r:id="rId40"/>
    </p:embeddedFont>
    <p:embeddedFont>
      <p:font typeface="Wingdings 3" panose="05040102010807070707" pitchFamily="18" charset="2"/>
      <p:regular r:id="rId41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A992"/>
    <a:srgbClr val="00416A"/>
    <a:srgbClr val="3CDBC0"/>
    <a:srgbClr val="2CD5C4"/>
    <a:srgbClr val="65C4DB"/>
    <a:srgbClr val="FFFFFF"/>
    <a:srgbClr val="DFDFE1"/>
    <a:srgbClr val="FFD500"/>
    <a:srgbClr val="333F48"/>
    <a:srgbClr val="ED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F555D0-71B9-D0C4-2DC1-0BBE042AF23E}" v="2" dt="2022-08-25T05:58:57.8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15" autoAdjust="0"/>
    <p:restoredTop sz="93497" autoAdjust="0"/>
  </p:normalViewPr>
  <p:slideViewPr>
    <p:cSldViewPr snapToGrid="0" snapToObjects="1">
      <p:cViewPr varScale="1">
        <p:scale>
          <a:sx n="114" d="100"/>
          <a:sy n="114" d="100"/>
        </p:scale>
        <p:origin x="30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212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font" Target="fonts/font18.fntdata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presProps" Target="presProps.xml"/><Relationship Id="rId47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font" Target="fonts/font19.fntdata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font" Target="fonts/font17.fntdata"/><Relationship Id="rId46" Type="http://schemas.microsoft.com/office/2015/10/relationships/revisionInfo" Target="revisionInfo.xml"/><Relationship Id="rId20" Type="http://schemas.openxmlformats.org/officeDocument/2006/relationships/notesMaster" Target="notesMasters/notesMaster1.xml"/><Relationship Id="rId41" Type="http://schemas.openxmlformats.org/officeDocument/2006/relationships/font" Target="fonts/font20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33B2D-7EE6-40D0-B8E5-54FD5F46DDA6}" type="datetimeFigureOut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/25/2025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962666-3E3A-4044-82EF-DED745118DC3}" type="slidenum">
              <a:rPr lang="en-US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‹N°›</a:t>
            </a:fld>
            <a:endParaRPr lang="en-US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990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1A70E0C9-048D-4F47-870E-3BFCAC7E8546}" type="datetimeFigureOut">
              <a:rPr lang="en-US" smtClean="0"/>
              <a:pPr/>
              <a:t>2/2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832"/>
            <a:ext cx="5438140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272"/>
            <a:ext cx="2945659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E18BF02C-2B30-4A7F-9DCE-38E6C5A43D8B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30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Noto Sans" panose="020B050204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FIFA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9A7A34E-E389-FA7F-2CC5-14D59256A6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6"/>
            <a:ext cx="8388351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9BAD04AF-ABFC-B3A1-037F-C6D069E3AB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D62EE3B-8B6A-B367-06E3-C76FB7AB4911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25 February 2025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16421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FBBF3E0-0AEF-7629-D5E0-BB643CDE76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EC39553-85C1-01BC-FD69-1D59B6C552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C8FCE16A-D11A-C5FF-B058-733CFBD2FA1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F45B80-5E70-4660-3CEA-21F98B403CD1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42FA1E7-EC98-6026-23AC-7988C7C5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C9BADF3-C56D-BE41-E1B0-797A64535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9074349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67D39BF-5196-A8B9-3955-C431CA030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575BD6C-F877-B7A0-ACC9-8755B2559B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5" name="Shape 16">
            <a:extLst>
              <a:ext uri="{FF2B5EF4-FFF2-40B4-BE49-F238E27FC236}">
                <a16:creationId xmlns:a16="http://schemas.microsoft.com/office/drawing/2014/main" id="{A62C5426-4C4C-F727-1D92-95C8AE77B1A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E40AE1A-83ED-5DAB-838F-B964135174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089AD4-4C1B-21D9-70F4-5BA768F49F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524EBF1F-EF57-CBCD-42F2-6D6513FF6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45619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3A2B2A4-FE95-DFDF-31BC-C1E06AD0E7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8501183-7F61-5D6A-A854-E2B01CFD9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E08032C-0297-AF59-03EA-0EBF7294296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A8828E-F599-2C56-2997-178C4E61D45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4D6C3BF8-5A62-5FEF-8767-720242ADE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C78BDB7-7475-8605-E025-2CE67E1D6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825185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FIF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0AACE03-64E9-BDFD-670A-D437EBA107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AB432F88-4941-A436-DA02-0D569D0750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4382" b="18661"/>
          <a:stretch/>
        </p:blipFill>
        <p:spPr>
          <a:xfrm>
            <a:off x="6524288" y="4956346"/>
            <a:ext cx="5168951" cy="135500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623DD42-452D-8803-ABF2-9B0892A22AE6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E60F96F-CB04-2D6B-A0ED-96123A166C5D}"/>
              </a:ext>
            </a:extLst>
          </p:cNvPr>
          <p:cNvSpPr/>
          <p:nvPr userDrawn="1"/>
        </p:nvSpPr>
        <p:spPr bwMode="auto">
          <a:xfrm>
            <a:off x="6960394" y="5622131"/>
            <a:ext cx="61912" cy="90488"/>
          </a:xfrm>
          <a:custGeom>
            <a:avLst/>
            <a:gdLst>
              <a:gd name="connsiteX0" fmla="*/ 0 w 61912"/>
              <a:gd name="connsiteY0" fmla="*/ 0 h 90488"/>
              <a:gd name="connsiteX1" fmla="*/ 47625 w 61912"/>
              <a:gd name="connsiteY1" fmla="*/ 23813 h 90488"/>
              <a:gd name="connsiteX2" fmla="*/ 61912 w 61912"/>
              <a:gd name="connsiteY2" fmla="*/ 50007 h 90488"/>
              <a:gd name="connsiteX3" fmla="*/ 14287 w 61912"/>
              <a:gd name="connsiteY3" fmla="*/ 90488 h 90488"/>
              <a:gd name="connsiteX4" fmla="*/ 0 w 61912"/>
              <a:gd name="connsiteY4" fmla="*/ 0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12" h="90488">
                <a:moveTo>
                  <a:pt x="0" y="0"/>
                </a:moveTo>
                <a:lnTo>
                  <a:pt x="47625" y="23813"/>
                </a:lnTo>
                <a:lnTo>
                  <a:pt x="61912" y="50007"/>
                </a:lnTo>
                <a:lnTo>
                  <a:pt x="14287" y="90488"/>
                </a:lnTo>
                <a:lnTo>
                  <a:pt x="0" y="0"/>
                </a:lnTo>
                <a:close/>
              </a:path>
            </a:pathLst>
          </a:cu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79488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en-GB" sz="16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339335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OREDO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BC2092C-1F68-548F-11C2-A257049F83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3E24AE7-3482-4E87-CEF6-82A9499EF134}"/>
              </a:ext>
            </a:extLst>
          </p:cNvPr>
          <p:cNvSpPr/>
          <p:nvPr userDrawn="1"/>
        </p:nvSpPr>
        <p:spPr bwMode="auto">
          <a:xfrm>
            <a:off x="623888" y="1801093"/>
            <a:ext cx="5472112" cy="2660073"/>
          </a:xfrm>
          <a:prstGeom prst="rect">
            <a:avLst/>
          </a:prstGeom>
          <a:solidFill>
            <a:srgbClr val="ED1C2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79488" rtl="0" eaLnBrk="1" fontAlgn="base" latinLnBrk="0" hangingPunct="1">
              <a:lnSpc>
                <a:spcPct val="8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r>
              <a:rPr lang="en-GB" sz="7200" b="1" kern="1200" cap="all" baseline="0" dirty="0">
                <a:solidFill>
                  <a:schemeClr val="bg1"/>
                </a:solidFill>
                <a:latin typeface="Outfit ExtraBold" pitchFamily="2" charset="0"/>
                <a:cs typeface="Rubik" pitchFamily="2" charset="-79"/>
              </a:rPr>
              <a:t>THANK YOU</a:t>
            </a:r>
          </a:p>
        </p:txBody>
      </p:sp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9E6D196-BF13-B14A-5E42-7DF2C4B71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5286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1E2F279-4717-9675-CCD8-8D532C9901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E799226E-0ADB-20BF-F1E9-C1F81F321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8AD559A5-4468-59AA-52D2-27FAC7F45E58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A36F8C-D736-BCD7-80BC-08E596705D48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CC5B1AE2-3422-835C-3716-6E5FE0144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7E8E174-6EF9-0FF9-40BC-211AD54EF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820427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15373B9-3194-740F-D742-D18EF4F8F4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8F33CC4B-82DC-D4B6-695D-546CAC2EC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A5B6705D-7448-AD56-D71F-D58AA8540ADD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4C2C73C-B63F-6C6A-D7F3-685A9C47A3DD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300A284B-C33C-72DA-FE7B-B1F5CC705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DB3FADF-EEC4-FC02-0A1C-3CCEC2E24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664765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54CFD49-7F7D-D913-EACC-A004BBBD01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CA9E68B-F9A4-F6F5-D76B-B5C533CEF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26012CC8-44F4-1175-1981-B04BE9252A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bg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462FF9-F3A7-5F85-9F20-A1249A617CE4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016D7CB6-E95E-5510-2F36-2C0229B414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Oval 6">
              <a:extLst>
                <a:ext uri="{FF2B5EF4-FFF2-40B4-BE49-F238E27FC236}">
                  <a16:creationId xmlns:a16="http://schemas.microsoft.com/office/drawing/2014/main" id="{2DE8A9D3-B501-6D0B-4292-6A3936365D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3594843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4990E30-652D-9507-1560-D4B9945E9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59419ECB-AE4E-E48D-95BE-D3E3B6748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E0273B1-B805-6360-25FB-5AA0CB2B76B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D6C89F1-2FDC-A010-1B51-6BEB18126A13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379569C-EC10-AEDE-3319-D5913ACC76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BBE9287-61DF-FB20-2BCF-CF456F1B80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25540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A599B6F-2DE0-991D-A25F-8E49DB46E1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FA33C5D1-1B2D-9474-E9C0-3F7EF0404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44F853FB-C299-9F2C-B5FE-29243E840D5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DC44D1C-5F92-400D-9314-C9A75042C002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FA50A2E5-03A0-35B2-3188-3B35F3203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B83510DC-242C-6751-1B7C-0A4D62BB01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4406332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OREDOO AUT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546B72D-11C6-2475-2FE3-632802BEF7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5F16B85-76B6-27FF-96E7-D488483A3D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981075"/>
            <a:ext cx="8388350" cy="2358348"/>
          </a:xfrm>
        </p:spPr>
        <p:txBody>
          <a:bodyPr wrap="square" lIns="0" tIns="0" rIns="0" bIns="0" anchor="t">
            <a:normAutofit/>
          </a:bodyPr>
          <a:lstStyle>
            <a:lvl1pPr>
              <a:lnSpc>
                <a:spcPct val="80000"/>
              </a:lnSpc>
              <a:defRPr sz="66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931A31-C6E7-A6C6-A65A-5A057DE3BC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845887"/>
            <a:ext cx="8388352" cy="68897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FontTx/>
              <a:buNone/>
              <a:defRPr kumimoji="0" lang="en-US" sz="2800" b="1" i="0" u="none" strike="noStrike" cap="none" spc="0" normalizeH="0" baseline="0" dirty="0" smtClean="0">
                <a:ln>
                  <a:noFill/>
                </a:ln>
                <a:effectLst/>
                <a:uFillTx/>
                <a:latin typeface="Rubik SemiBold" pitchFamily="2" charset="-79"/>
                <a:ea typeface="+mj-ea"/>
                <a:cs typeface="Rubik SemiBold" pitchFamily="2" charset="-79"/>
                <a:sym typeface="Helvetica Neue"/>
              </a:defRPr>
            </a:lvl1pPr>
          </a:lstStyle>
          <a:p>
            <a:pPr marR="0" lvl="0" fontAlgn="auto"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Sub-title</a:t>
            </a:r>
          </a:p>
        </p:txBody>
      </p:sp>
      <p:sp>
        <p:nvSpPr>
          <p:cNvPr id="11" name="Shape 17">
            <a:extLst>
              <a:ext uri="{FF2B5EF4-FFF2-40B4-BE49-F238E27FC236}">
                <a16:creationId xmlns:a16="http://schemas.microsoft.com/office/drawing/2014/main" id="{531E94DB-C1A2-0CF8-140E-8C31EA34A100}"/>
              </a:ext>
            </a:extLst>
          </p:cNvPr>
          <p:cNvSpPr txBox="1">
            <a:spLocks noGrp="1"/>
          </p:cNvSpPr>
          <p:nvPr>
            <p:ph type="body" idx="4" hasCustomPrompt="1"/>
          </p:nvPr>
        </p:nvSpPr>
        <p:spPr>
          <a:xfrm>
            <a:off x="623888" y="6108250"/>
            <a:ext cx="6737494" cy="278302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1600" b="0" i="0" u="none" strike="noStrike" cap="none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fr-FR" dirty="0"/>
              <a:t>File name / Department / Author 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4C535A-A025-6F92-F778-E8CDAFFBAD20}"/>
              </a:ext>
            </a:extLst>
          </p:cNvPr>
          <p:cNvSpPr/>
          <p:nvPr userDrawn="1"/>
        </p:nvSpPr>
        <p:spPr bwMode="auto">
          <a:xfrm>
            <a:off x="623888" y="5797875"/>
            <a:ext cx="4339304" cy="27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91425" rIns="91425" bIns="91425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704850" eaLnBrk="1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FFFF"/>
              </a:buClr>
              <a:buSzPct val="140000"/>
              <a:buFont typeface="Arial"/>
              <a:buNone/>
            </a:pPr>
            <a:fld id="{BE19E785-B894-4E67-AB06-B432AD4D2C5B}" type="datetime4">
              <a:rPr lang="en-GB" sz="1600" b="0" i="0" u="none" strike="noStrike" cap="none" smtClean="0">
                <a:solidFill>
                  <a:schemeClr val="bg1"/>
                </a:solidFill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25 February 2025</a:t>
            </a:fld>
            <a:endParaRPr lang="en-GB" sz="1600" b="0" i="0" u="none" strike="noStrike" cap="none" dirty="0" err="1">
              <a:solidFill>
                <a:schemeClr val="bg1"/>
              </a:solidFill>
              <a:latin typeface="+mj-lt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" name="Picture 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024D02B-A6FC-1E35-5B43-DCA4ADCFA7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4305" t="25059" r="12861" b="31721"/>
          <a:stretch/>
        </p:blipFill>
        <p:spPr>
          <a:xfrm>
            <a:off x="8100904" y="5304012"/>
            <a:ext cx="3593275" cy="96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3497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9F6A092-1A1D-1C14-BA04-FDA6CC5F7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7D7F22C-8DC0-0741-79BA-2C2E7E0E6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03DBC345-9207-2A88-8448-D79D50898D87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0B30E6A-BCB9-3163-AF71-457051A44AF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11CA028C-28A2-DB40-357E-7A8C3DF42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313403F-C92F-A4A5-87AE-EB31B5574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0682788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C8245B9-4934-2A64-4D8B-4B9C8BAAA1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888FFBF-88EE-9398-8356-C591E8080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DBA9D6D3-8D51-6FBB-BFF6-B5D3A54CC693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31A610-9635-3C30-12F1-6A5C6F99FBC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D6DA5D0B-4767-420B-0683-E56E07685C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2485F011-28E1-8D4E-2A1F-256081FD4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609667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17AA897-2C9C-C6FF-0839-0807F6BDC6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CBADE63-5F46-65BA-8806-2A162159C8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11D7D84-1E7C-8774-E85D-627C8195B68B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3B0B2BB-7B9B-C74D-B54C-6458D424CBB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EEFB391-3876-6569-8382-2AF9B85810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7E6C506-B944-8824-F1CE-6EA9B113B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8091422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NK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208D724-0A54-3D81-6ECF-0A27C6C376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4B68EB9A-CDC0-99C0-BA36-30EABB843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937DD764-1401-5CF9-90F6-33CA7CE09A6E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4C4A05-772C-1740-689C-8C3FAA4E473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E4540F36-5C2F-BE8A-3D82-BB3B8B52A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6933303-621B-15DC-7D2B-A1892BE67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281315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ECKH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9AC33E9-0B6B-4CE3-EF92-B22A1074E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0134BCF6-AAA2-A2AF-FC69-7C2552B124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25D1B542-CCC6-72DE-BAED-FEEB72F49E55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AA24374-D31B-7720-9BBA-A3E6163724A0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1D59E9F-DD4E-6DDA-ED21-5026632D0A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8BF48EA7-5E2B-555D-2CF1-6B60B514C6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54856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MES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1DDEA43-D01D-7178-4AD3-BB7CC993E8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D4C67964-6777-DD83-F67A-7DB4A703A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0CFAA65-671D-0C45-B80F-4CE5A1A2A13F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0E952-BB1D-5FDF-CDD6-012772DCE2BA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AC6D0D3B-C554-A39E-3843-2D978AC29D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48AB146-A98D-0CB7-40F1-B0520EF85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5550920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NEYM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AE63B096-0868-6E6A-C7AC-080D3C1DCD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6A57681F-15BA-F793-D5F7-E2985C193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5940425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tx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BE94A324-DC4F-E822-A113-4C63F178349C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6C9D3FC-1F83-D8CD-8439-BEA9D5DA9085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F95839A-8D16-5BB2-221B-E007AC661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2684AE-2CED-1D27-62F0-C36A27190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solidFill>
              <a:srgbClr val="ED1D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246810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10312" marR="0" indent="-274320" algn="l" defTabSz="70485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D1C24"/>
              </a:buClr>
              <a:buSzPct val="125000"/>
              <a:buFont typeface="+mj-lt"/>
              <a:buAutoNum type="arabicPeriod"/>
              <a:tabLst/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1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2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3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4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5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6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7"/>
            <a:r>
              <a:rPr lang="fr-FR" dirty="0"/>
              <a:t>Lorem </a:t>
            </a:r>
            <a:r>
              <a:rPr lang="fr-FR" dirty="0" err="1"/>
              <a:t>ipsum</a:t>
            </a:r>
            <a:endParaRPr lang="en-US" dirty="0"/>
          </a:p>
          <a:p>
            <a:pPr lvl="8"/>
            <a:r>
              <a:rPr lang="fr-FR" dirty="0"/>
              <a:t>Lorem ipsum</a:t>
            </a:r>
            <a:endParaRPr lang="en-US" dirty="0"/>
          </a:p>
        </p:txBody>
      </p:sp>
      <p:sp>
        <p:nvSpPr>
          <p:cNvPr id="10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BCCB7A99-BC73-45EC-BCF6-67FFEA14AAA8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218237493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/>
            </a:lvl1pPr>
            <a:lvl2pPr marL="205740" indent="0">
              <a:lnSpc>
                <a:spcPct val="100000"/>
              </a:lnSpc>
              <a:spcBef>
                <a:spcPts val="450"/>
              </a:spcBef>
              <a:buNone/>
              <a:defRPr/>
            </a:lvl2pPr>
            <a:lvl3pPr marL="411480" indent="0">
              <a:lnSpc>
                <a:spcPct val="100000"/>
              </a:lnSpc>
              <a:spcBef>
                <a:spcPts val="450"/>
              </a:spcBef>
              <a:buNone/>
              <a:defRPr/>
            </a:lvl3pPr>
            <a:lvl4pPr marL="557213" indent="0">
              <a:lnSpc>
                <a:spcPct val="100000"/>
              </a:lnSpc>
              <a:spcBef>
                <a:spcPts val="450"/>
              </a:spcBef>
              <a:buNone/>
              <a:defRPr/>
            </a:lvl4pPr>
            <a:lvl5pPr marL="694373" indent="0">
              <a:lnSpc>
                <a:spcPct val="100000"/>
              </a:lnSpc>
              <a:spcBef>
                <a:spcPts val="450"/>
              </a:spcBef>
              <a:buNone/>
              <a:defRPr sz="750"/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D96FD484-7585-4DE7-AA01-D6E50E5FD7B0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4194941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011419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5" y="1272212"/>
            <a:ext cx="10919792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45F568F9-2683-4D73-B867-5AEF0061B8D1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8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</p:spPr>
        <p:txBody>
          <a:bodyPr/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317984" y="1271588"/>
            <a:ext cx="5237913" cy="4703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636106" y="1272212"/>
            <a:ext cx="5272325" cy="4703145"/>
          </a:xfrm>
        </p:spPr>
        <p:txBody>
          <a:bodyPr/>
          <a:lstStyle>
            <a:lvl1pPr marL="205740" indent="-20574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lvl1pPr>
            <a:lvl2pPr marL="54864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2pPr>
            <a:lvl3pPr marL="82296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3pPr>
            <a:lvl4pPr marL="109728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4pPr>
            <a:lvl5pPr marL="1371600" indent="-27432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000"/>
            </a:lvl5pPr>
            <a:lvl6pPr marL="1645920" indent="-274320">
              <a:spcBef>
                <a:spcPts val="600"/>
              </a:spcBef>
              <a:spcAft>
                <a:spcPts val="600"/>
              </a:spcAft>
              <a:defRPr/>
            </a:lvl6pPr>
            <a:lvl7pPr marL="1920240" indent="-274320">
              <a:spcBef>
                <a:spcPts val="600"/>
              </a:spcBef>
              <a:spcAft>
                <a:spcPts val="600"/>
              </a:spcAft>
              <a:defRPr/>
            </a:lvl7pPr>
            <a:lvl8pPr marL="2194560" indent="-274320">
              <a:spcBef>
                <a:spcPts val="600"/>
              </a:spcBef>
              <a:spcAft>
                <a:spcPts val="600"/>
              </a:spcAft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2468880" indent="-27432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b="0" i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7"/>
            <a:r>
              <a:rPr lang="fr-FR" dirty="0" err="1"/>
              <a:t>Heig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r>
              <a:rPr lang="fr-FR" dirty="0" err="1"/>
              <a:t>Nine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en-US" dirty="0"/>
          </a:p>
          <a:p>
            <a:pPr lvl="8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088DBADD-80EB-4BAF-8DFB-4441BC0F37C5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61475204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2" orient="horz" pos="386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433852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4" y="6154481"/>
            <a:ext cx="10919791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17048604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" name="Objec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36105" y="1263665"/>
            <a:ext cx="10919792" cy="4711692"/>
          </a:xfrm>
        </p:spPr>
        <p:txBody>
          <a:bodyPr anchor="t" anchorCtr="0"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 tableau</a:t>
            </a:r>
            <a:endParaRPr lang="en-US" dirty="0"/>
          </a:p>
        </p:txBody>
      </p:sp>
      <p:sp>
        <p:nvSpPr>
          <p:cNvPr id="8" name="Title Placeholder 15"/>
          <p:cNvSpPr>
            <a:spLocks noGrp="1"/>
          </p:cNvSpPr>
          <p:nvPr>
            <p:ph type="title"/>
          </p:nvPr>
        </p:nvSpPr>
        <p:spPr>
          <a:xfrm>
            <a:off x="636104" y="66660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>
                <a:cs typeface="+mj-cs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3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73852EC9-F0B0-44B1-9FE7-E87EC14ADE79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636105" y="6154481"/>
            <a:ext cx="10919792" cy="280718"/>
          </a:xfrm>
        </p:spPr>
        <p:txBody>
          <a:bodyPr lIns="0" rIns="0" bIns="0" anchor="ctr"/>
          <a:lstStyle>
            <a:lvl1pPr marL="0" indent="0">
              <a:buNone/>
              <a:defRPr lang="en-US" sz="700" kern="0" baseline="0" dirty="0" smtClean="0">
                <a:solidFill>
                  <a:schemeClr val="tx1"/>
                </a:solidFill>
              </a:defRPr>
            </a:lvl1pPr>
            <a:lvl2pPr>
              <a:defRPr lang="en-US" kern="1200" dirty="0" smtClean="0">
                <a:cs typeface="Arial" charset="0"/>
              </a:defRPr>
            </a:lvl2pPr>
            <a:lvl3pPr>
              <a:defRPr lang="en-US" kern="1200" dirty="0" smtClean="0">
                <a:cs typeface="Arial" charset="0"/>
              </a:defRPr>
            </a:lvl3pPr>
            <a:lvl4pPr>
              <a:defRPr lang="en-US" kern="1200" dirty="0" smtClean="0">
                <a:cs typeface="Arial" charset="0"/>
              </a:defRPr>
            </a:lvl4pPr>
            <a:lvl5pPr>
              <a:defRPr lang="en-US" dirty="0"/>
            </a:lvl5pPr>
          </a:lstStyle>
          <a:p>
            <a:r>
              <a:rPr lang="en-US" kern="0" dirty="0"/>
              <a:t>Click to add 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93033922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LEA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D29CDFE-F798-BD0E-F7B8-831D094824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5" name="Group 14" hidden="1">
            <a:extLst>
              <a:ext uri="{FF2B5EF4-FFF2-40B4-BE49-F238E27FC236}">
                <a16:creationId xmlns:a16="http://schemas.microsoft.com/office/drawing/2014/main" id="{06BF83D1-2CB4-3E13-0D4B-FFD2A86A31FF}"/>
              </a:ext>
            </a:extLst>
          </p:cNvPr>
          <p:cNvGrpSpPr/>
          <p:nvPr userDrawn="1"/>
        </p:nvGrpSpPr>
        <p:grpSpPr>
          <a:xfrm>
            <a:off x="11142225" y="397305"/>
            <a:ext cx="579486" cy="568010"/>
            <a:chOff x="11031538" y="287338"/>
            <a:chExt cx="801687" cy="785812"/>
          </a:xfrm>
          <a:solidFill>
            <a:schemeClr val="accent1"/>
          </a:solidFill>
        </p:grpSpPr>
        <p:sp>
          <p:nvSpPr>
            <p:cNvPr id="16" name="Oval 5">
              <a:extLst>
                <a:ext uri="{FF2B5EF4-FFF2-40B4-BE49-F238E27FC236}">
                  <a16:creationId xmlns:a16="http://schemas.microsoft.com/office/drawing/2014/main" id="{D174E280-B1C9-83F8-F46E-3DE3EE5BB9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609388" y="287338"/>
              <a:ext cx="223837" cy="225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047D397-2FC2-4E5B-0B80-430BE6A8EC0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031538" y="446088"/>
              <a:ext cx="625475" cy="627062"/>
            </a:xfrm>
            <a:custGeom>
              <a:avLst/>
              <a:gdLst>
                <a:gd name="T0" fmla="*/ 1275 w 2549"/>
                <a:gd name="T1" fmla="*/ 1982 h 2560"/>
                <a:gd name="T2" fmla="*/ 577 w 2549"/>
                <a:gd name="T3" fmla="*/ 1280 h 2560"/>
                <a:gd name="T4" fmla="*/ 1275 w 2549"/>
                <a:gd name="T5" fmla="*/ 579 h 2560"/>
                <a:gd name="T6" fmla="*/ 1972 w 2549"/>
                <a:gd name="T7" fmla="*/ 1280 h 2560"/>
                <a:gd name="T8" fmla="*/ 1275 w 2549"/>
                <a:gd name="T9" fmla="*/ 1982 h 2560"/>
                <a:gd name="T10" fmla="*/ 0 w 2549"/>
                <a:gd name="T11" fmla="*/ 1277 h 2560"/>
                <a:gd name="T12" fmla="*/ 0 w 2549"/>
                <a:gd name="T13" fmla="*/ 1283 h 2560"/>
                <a:gd name="T14" fmla="*/ 1275 w 2549"/>
                <a:gd name="T15" fmla="*/ 2560 h 2560"/>
                <a:gd name="T16" fmla="*/ 2549 w 2549"/>
                <a:gd name="T17" fmla="*/ 1280 h 2560"/>
                <a:gd name="T18" fmla="*/ 1275 w 2549"/>
                <a:gd name="T19" fmla="*/ 0 h 2560"/>
                <a:gd name="T20" fmla="*/ 0 w 2549"/>
                <a:gd name="T21" fmla="*/ 1277 h 2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2560">
                  <a:moveTo>
                    <a:pt x="1275" y="1982"/>
                  </a:moveTo>
                  <a:cubicBezTo>
                    <a:pt x="890" y="1982"/>
                    <a:pt x="577" y="1667"/>
                    <a:pt x="577" y="1280"/>
                  </a:cubicBezTo>
                  <a:cubicBezTo>
                    <a:pt x="577" y="893"/>
                    <a:pt x="890" y="579"/>
                    <a:pt x="1275" y="579"/>
                  </a:cubicBezTo>
                  <a:cubicBezTo>
                    <a:pt x="1659" y="579"/>
                    <a:pt x="1972" y="893"/>
                    <a:pt x="1972" y="1280"/>
                  </a:cubicBezTo>
                  <a:cubicBezTo>
                    <a:pt x="1972" y="1667"/>
                    <a:pt x="1659" y="1982"/>
                    <a:pt x="1275" y="1982"/>
                  </a:cubicBezTo>
                  <a:close/>
                  <a:moveTo>
                    <a:pt x="0" y="1277"/>
                  </a:moveTo>
                  <a:lnTo>
                    <a:pt x="0" y="1283"/>
                  </a:lnTo>
                  <a:cubicBezTo>
                    <a:pt x="2" y="1987"/>
                    <a:pt x="573" y="2560"/>
                    <a:pt x="1275" y="2560"/>
                  </a:cubicBezTo>
                  <a:cubicBezTo>
                    <a:pt x="1977" y="2560"/>
                    <a:pt x="2549" y="1986"/>
                    <a:pt x="2549" y="1280"/>
                  </a:cubicBezTo>
                  <a:cubicBezTo>
                    <a:pt x="2549" y="574"/>
                    <a:pt x="1977" y="0"/>
                    <a:pt x="1275" y="0"/>
                  </a:cubicBezTo>
                  <a:cubicBezTo>
                    <a:pt x="573" y="0"/>
                    <a:pt x="2" y="573"/>
                    <a:pt x="0" y="1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latin typeface="Rubik" pitchFamily="2" charset="-79"/>
                <a:cs typeface="Rubik" pitchFamily="2" charset="-79"/>
              </a:endParaRPr>
            </a:p>
          </p:txBody>
        </p:sp>
      </p:grpSp>
      <p:sp>
        <p:nvSpPr>
          <p:cNvPr id="2" name="Title 2">
            <a:extLst>
              <a:ext uri="{FF2B5EF4-FFF2-40B4-BE49-F238E27FC236}">
                <a16:creationId xmlns:a16="http://schemas.microsoft.com/office/drawing/2014/main" id="{7F66676F-ED44-880D-23F8-A2E762CF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738910"/>
            <a:ext cx="8388350" cy="3112654"/>
          </a:xfrm>
        </p:spPr>
        <p:txBody>
          <a:bodyPr anchor="b"/>
          <a:lstStyle>
            <a:lvl1pPr>
              <a:lnSpc>
                <a:spcPct val="80000"/>
              </a:lnSpc>
              <a:defRPr sz="4400" cap="all" baseline="0">
                <a:solidFill>
                  <a:schemeClr val="bg1"/>
                </a:solidFill>
                <a:latin typeface="Outfit ExtraBold" pitchFamily="2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  <p:sp>
        <p:nvSpPr>
          <p:cNvPr id="3" name="Shape 16">
            <a:extLst>
              <a:ext uri="{FF2B5EF4-FFF2-40B4-BE49-F238E27FC236}">
                <a16:creationId xmlns:a16="http://schemas.microsoft.com/office/drawing/2014/main" id="{F8DCAB59-D7AE-5F69-3CFC-66CCF890B682}"/>
              </a:ext>
            </a:extLst>
          </p:cNvPr>
          <p:cNvSpPr txBox="1">
            <a:spLocks noGrp="1"/>
          </p:cNvSpPr>
          <p:nvPr>
            <p:ph type="body" idx="3" hasCustomPrompt="1"/>
          </p:nvPr>
        </p:nvSpPr>
        <p:spPr>
          <a:xfrm>
            <a:off x="623887" y="4120944"/>
            <a:ext cx="5940425" cy="497237"/>
          </a:xfrm>
          <a:prstGeom prst="rect">
            <a:avLst/>
          </a:prstGeom>
          <a:noFill/>
          <a:ln>
            <a:noFill/>
          </a:ln>
        </p:spPr>
        <p:txBody>
          <a:bodyPr lIns="0" tIns="91425" rIns="91425" bIns="91425" anchor="t" anchorCtr="0"/>
          <a:lstStyle>
            <a:lvl1pPr marL="0" marR="0" lvl="0" indent="0" algn="l" rtl="0">
              <a:spcBef>
                <a:spcPts val="0"/>
              </a:spcBef>
              <a:buClr>
                <a:srgbClr val="FFFFFF"/>
              </a:buClr>
              <a:buFont typeface="Arial"/>
              <a:buNone/>
              <a:defRPr sz="2000" b="0" i="0" u="none" strike="noStrike" cap="none">
                <a:solidFill>
                  <a:schemeClr val="tx1"/>
                </a:solidFill>
                <a:latin typeface="Rubik SemiBold" pitchFamily="2" charset="-79"/>
                <a:ea typeface="Noto Sans" panose="020B0502040504020204" pitchFamily="34" charset="0"/>
                <a:cs typeface="Rubik SemiBold" pitchFamily="2" charset="-79"/>
                <a:sym typeface="Arial"/>
              </a:defRPr>
            </a:lvl1pPr>
            <a:lvl2pPr marL="884318" marR="0" lvl="1" indent="-132988" algn="l" rtl="0">
              <a:spcBef>
                <a:spcPts val="667"/>
              </a:spcBef>
              <a:buClr>
                <a:schemeClr val="dk1"/>
              </a:buClr>
              <a:buSzPct val="100000"/>
              <a:buFont typeface="Arial"/>
              <a:buChar char="–"/>
              <a:defRPr sz="3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60491" marR="0" lvl="2" indent="-101218" algn="l" rtl="0">
              <a:spcBef>
                <a:spcPts val="567"/>
              </a:spcBef>
              <a:buClr>
                <a:schemeClr val="dk1"/>
              </a:buClr>
              <a:buSzPct val="100000"/>
              <a:buFont typeface="Arial"/>
              <a:buChar char="•"/>
              <a:defRPr sz="28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904689" marR="0" lvl="3" indent="-12159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–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48882" marR="0" lvl="4" indent="-126107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»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993079" marR="0" lvl="5" indent="-12003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37274" marR="0" lvl="6" indent="-124541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81470" marR="0" lvl="7" indent="-129048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625666" marR="0" lvl="8" indent="-122974" algn="l" rtl="0">
              <a:spcBef>
                <a:spcPts val="483"/>
              </a:spcBef>
              <a:buClr>
                <a:schemeClr val="dk1"/>
              </a:buClr>
              <a:buSzPct val="100000"/>
              <a:buFont typeface="Arial"/>
              <a:buChar char="•"/>
              <a:defRPr sz="241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 dirty="0"/>
              <a:t>Sub-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11F0402-09E8-7FE8-EE15-4CF723E00B8E}"/>
              </a:ext>
            </a:extLst>
          </p:cNvPr>
          <p:cNvGrpSpPr/>
          <p:nvPr userDrawn="1"/>
        </p:nvGrpSpPr>
        <p:grpSpPr>
          <a:xfrm>
            <a:off x="10834255" y="644508"/>
            <a:ext cx="733858" cy="690046"/>
            <a:chOff x="2601913" y="1595438"/>
            <a:chExt cx="1701800" cy="1600200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B8AD7BD-1F5A-8B90-53A7-AC14105C0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1916113"/>
              <a:ext cx="1274763" cy="1279525"/>
            </a:xfrm>
            <a:custGeom>
              <a:avLst/>
              <a:gdLst>
                <a:gd name="T0" fmla="*/ 1775 w 3549"/>
                <a:gd name="T1" fmla="*/ 776 h 3549"/>
                <a:gd name="T2" fmla="*/ 777 w 3549"/>
                <a:gd name="T3" fmla="*/ 1775 h 3549"/>
                <a:gd name="T4" fmla="*/ 1775 w 3549"/>
                <a:gd name="T5" fmla="*/ 2773 h 3549"/>
                <a:gd name="T6" fmla="*/ 2773 w 3549"/>
                <a:gd name="T7" fmla="*/ 1775 h 3549"/>
                <a:gd name="T8" fmla="*/ 1775 w 3549"/>
                <a:gd name="T9" fmla="*/ 776 h 3549"/>
                <a:gd name="T10" fmla="*/ 1775 w 3549"/>
                <a:gd name="T11" fmla="*/ 3549 h 3549"/>
                <a:gd name="T12" fmla="*/ 0 w 3549"/>
                <a:gd name="T13" fmla="*/ 1775 h 3549"/>
                <a:gd name="T14" fmla="*/ 1775 w 3549"/>
                <a:gd name="T15" fmla="*/ 0 h 3549"/>
                <a:gd name="T16" fmla="*/ 3549 w 3549"/>
                <a:gd name="T17" fmla="*/ 1775 h 3549"/>
                <a:gd name="T18" fmla="*/ 1775 w 3549"/>
                <a:gd name="T19" fmla="*/ 3549 h 3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49" h="3549">
                  <a:moveTo>
                    <a:pt x="1775" y="776"/>
                  </a:moveTo>
                  <a:cubicBezTo>
                    <a:pt x="1225" y="776"/>
                    <a:pt x="777" y="1224"/>
                    <a:pt x="777" y="1775"/>
                  </a:cubicBezTo>
                  <a:cubicBezTo>
                    <a:pt x="777" y="2325"/>
                    <a:pt x="1225" y="2773"/>
                    <a:pt x="1775" y="2773"/>
                  </a:cubicBezTo>
                  <a:cubicBezTo>
                    <a:pt x="2325" y="2773"/>
                    <a:pt x="2773" y="2325"/>
                    <a:pt x="2773" y="1775"/>
                  </a:cubicBezTo>
                  <a:cubicBezTo>
                    <a:pt x="2773" y="1224"/>
                    <a:pt x="2325" y="776"/>
                    <a:pt x="1775" y="776"/>
                  </a:cubicBezTo>
                  <a:close/>
                  <a:moveTo>
                    <a:pt x="1775" y="3549"/>
                  </a:moveTo>
                  <a:cubicBezTo>
                    <a:pt x="796" y="3549"/>
                    <a:pt x="0" y="2753"/>
                    <a:pt x="0" y="1775"/>
                  </a:cubicBezTo>
                  <a:cubicBezTo>
                    <a:pt x="0" y="796"/>
                    <a:pt x="796" y="0"/>
                    <a:pt x="1775" y="0"/>
                  </a:cubicBezTo>
                  <a:cubicBezTo>
                    <a:pt x="2753" y="0"/>
                    <a:pt x="3549" y="796"/>
                    <a:pt x="3549" y="1775"/>
                  </a:cubicBezTo>
                  <a:cubicBezTo>
                    <a:pt x="3549" y="2753"/>
                    <a:pt x="2753" y="3549"/>
                    <a:pt x="1775" y="35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56721ED-D414-EDF8-708E-724EC308B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163" y="1595438"/>
              <a:ext cx="463550" cy="4635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9567131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1027566"/>
              </p:ext>
            </p:ext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30" imgW="0" imgH="0" progId="TCLayout.ActiveDocument.1">
                  <p:embed/>
                </p:oleObj>
              </mc:Choice>
              <mc:Fallback>
                <p:oleObj name="think-cell Slide" r:id="rId30" imgW="0" imgH="0" progId="TCLayout.ActiveDocument.1">
                  <p:embed/>
                  <p:pic>
                    <p:nvPicPr>
                      <p:cNvPr id="15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104" y="1285462"/>
            <a:ext cx="10919792" cy="468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05740" lvl="0" indent="-205740">
              <a:spcBef>
                <a:spcPts val="900"/>
              </a:spcBef>
            </a:pPr>
            <a:r>
              <a:rPr lang="fr-FR"/>
              <a:t>Modifier les styles du texte du masque</a:t>
            </a:r>
          </a:p>
          <a:p>
            <a:pPr marL="205740" lvl="1" indent="-205740">
              <a:spcBef>
                <a:spcPts val="900"/>
              </a:spcBef>
            </a:pPr>
            <a:r>
              <a:rPr lang="fr-FR"/>
              <a:t>Deuxième niveau</a:t>
            </a:r>
          </a:p>
          <a:p>
            <a:pPr marL="205740" lvl="2" indent="-205740">
              <a:spcBef>
                <a:spcPts val="900"/>
              </a:spcBef>
            </a:pPr>
            <a:r>
              <a:rPr lang="fr-FR"/>
              <a:t>Troisième niveau</a:t>
            </a:r>
          </a:p>
          <a:p>
            <a:pPr marL="205740" lvl="3" indent="-205740">
              <a:spcBef>
                <a:spcPts val="900"/>
              </a:spcBef>
            </a:pPr>
            <a:r>
              <a:rPr lang="fr-FR"/>
              <a:t>Quatrième niveau</a:t>
            </a:r>
          </a:p>
          <a:p>
            <a:pPr marL="205740" lvl="4" indent="-205740">
              <a:spcBef>
                <a:spcPts val="900"/>
              </a:spcBef>
            </a:pPr>
            <a:r>
              <a:rPr lang="fr-FR"/>
              <a:t>Cinquième niveau</a:t>
            </a:r>
            <a:endParaRPr lang="en-US" dirty="0"/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36104" y="50034"/>
            <a:ext cx="10919792" cy="914400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8850703" y="6526758"/>
            <a:ext cx="319575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0644192" y="6526758"/>
            <a:ext cx="287528" cy="184666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600" i="0" kern="1200" dirty="0">
                <a:solidFill>
                  <a:srgbClr val="ED1C24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|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025127" y="6436534"/>
            <a:ext cx="17436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24F66902-87F4-4757-BF32-F666686F52D8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95709" y="6436534"/>
            <a:ext cx="6666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68781" y="6436534"/>
            <a:ext cx="787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 i="0">
                <a:solidFill>
                  <a:schemeClr val="accent1"/>
                </a:solidFill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F9F4C691-6DE9-424C-9C34-B44F65CDDA11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A1FD88-A6E6-8119-40FC-44372482DF02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28737" y="6434431"/>
            <a:ext cx="1317909" cy="2589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1" r:id="rId1"/>
    <p:sldLayoutId id="2147485192" r:id="rId2"/>
    <p:sldLayoutId id="2147485123" r:id="rId3"/>
    <p:sldLayoutId id="2147485127" r:id="rId4"/>
    <p:sldLayoutId id="2147485086" r:id="rId5"/>
    <p:sldLayoutId id="2147485132" r:id="rId6"/>
    <p:sldLayoutId id="2147485096" r:id="rId7"/>
    <p:sldLayoutId id="2147485131" r:id="rId8"/>
    <p:sldLayoutId id="2147485188" r:id="rId9"/>
    <p:sldLayoutId id="2147485169" r:id="rId10"/>
    <p:sldLayoutId id="2147485178" r:id="rId11"/>
    <p:sldLayoutId id="2147485183" r:id="rId12"/>
    <p:sldLayoutId id="2147485152" r:id="rId13"/>
    <p:sldLayoutId id="2147485190" r:id="rId14"/>
    <p:sldLayoutId id="2147485177" r:id="rId15"/>
    <p:sldLayoutId id="2147485182" r:id="rId16"/>
    <p:sldLayoutId id="2147485184" r:id="rId17"/>
    <p:sldLayoutId id="2147485174" r:id="rId18"/>
    <p:sldLayoutId id="2147485179" r:id="rId19"/>
    <p:sldLayoutId id="2147485185" r:id="rId20"/>
    <p:sldLayoutId id="2147485175" r:id="rId21"/>
    <p:sldLayoutId id="2147485180" r:id="rId22"/>
    <p:sldLayoutId id="2147485186" r:id="rId23"/>
    <p:sldLayoutId id="2147485176" r:id="rId24"/>
    <p:sldLayoutId id="2147485181" r:id="rId25"/>
    <p:sldLayoutId id="2147485187" r:id="rId26"/>
  </p:sldLayoutIdLst>
  <p:transition/>
  <p:hf hdr="0"/>
  <p:txStyles>
    <p:titleStyle>
      <a:lvl1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kern="1200">
          <a:solidFill>
            <a:schemeClr val="accent1"/>
          </a:solidFill>
          <a:latin typeface="Rubik" pitchFamily="2" charset="-79"/>
          <a:ea typeface="Rubik" pitchFamily="2" charset="-79"/>
          <a:cs typeface="Rubik" pitchFamily="2" charset="-79"/>
        </a:defRPr>
      </a:lvl1pPr>
      <a:lvl2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2pPr>
      <a:lvl3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3pPr>
      <a:lvl4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4pPr>
      <a:lvl5pPr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1">
          <a:solidFill>
            <a:srgbClr val="003366"/>
          </a:solidFill>
          <a:latin typeface="Arial" charset="0"/>
          <a:ea typeface="Arial" charset="0"/>
          <a:cs typeface="Arial" charset="0"/>
        </a:defRPr>
      </a:lvl5pPr>
      <a:lvl6pPr marL="3429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6pPr>
      <a:lvl7pPr marL="6858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7pPr>
      <a:lvl8pPr marL="10287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8pPr>
      <a:lvl9pPr marL="1371600" algn="l" defTabSz="7048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200" b="1">
          <a:solidFill>
            <a:srgbClr val="0057A6"/>
          </a:solidFill>
          <a:latin typeface="Arial" charset="0"/>
        </a:defRPr>
      </a:lvl9pPr>
    </p:titleStyle>
    <p:bodyStyle>
      <a:lvl1pPr marL="274320" indent="-274320" algn="l" defTabSz="704850" rtl="0" eaLnBrk="1" fontAlgn="base" hangingPunct="1">
        <a:lnSpc>
          <a:spcPct val="100000"/>
        </a:lnSpc>
        <a:spcBef>
          <a:spcPts val="1200"/>
        </a:spcBef>
        <a:spcAft>
          <a:spcPts val="12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6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1pPr>
      <a:lvl2pPr marL="351235" indent="-214313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4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2pPr>
      <a:lvl3pPr marL="398859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3pPr>
      <a:lvl4pPr marL="534591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itchFamily="34" charset="0"/>
        <a:buChar char="•"/>
        <a:defRPr lang="en-US" sz="1200" dirty="0" smtClean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</a:defRPr>
      </a:lvl4pPr>
      <a:lvl5pPr marL="753665" indent="-128588" algn="l" defTabSz="704850" rtl="0" eaLnBrk="1" fontAlgn="base" hangingPunct="1">
        <a:lnSpc>
          <a:spcPct val="100000"/>
        </a:lnSpc>
        <a:spcBef>
          <a:spcPts val="600"/>
        </a:spcBef>
        <a:spcAft>
          <a:spcPts val="600"/>
        </a:spcAft>
        <a:buClr>
          <a:srgbClr val="ED1C24"/>
        </a:buClr>
        <a:buSzPct val="140000"/>
        <a:buFont typeface="Arial" panose="020B0604020202020204" pitchFamily="34" charset="0"/>
        <a:buChar char="•"/>
        <a:defRPr lang="en-US" sz="1000" i="0" kern="1200" dirty="0">
          <a:solidFill>
            <a:schemeClr val="tx1"/>
          </a:solidFill>
          <a:latin typeface="Noto Sans" panose="020B0502040504020204" pitchFamily="34" charset="0"/>
          <a:ea typeface="ＭＳ Ｐゴシック" pitchFamily="-109" charset="-128"/>
          <a:cs typeface="Noto Sans" panose="020B0502040504020204" pitchFamily="34" charset="0"/>
        </a:defRPr>
      </a:lvl5pPr>
      <a:lvl6pPr marL="10691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6pPr>
      <a:lvl7pPr marL="14120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 b="0" i="0">
          <a:solidFill>
            <a:schemeClr val="tx1"/>
          </a:solidFill>
          <a:latin typeface="Noto Sans" panose="020B0502040504020204" pitchFamily="34" charset="0"/>
          <a:ea typeface="Noto Sans" panose="020B0502040504020204" pitchFamily="34" charset="0"/>
          <a:cs typeface="Noto Sans" panose="020B0502040504020204" pitchFamily="34" charset="0"/>
        </a:defRPr>
      </a:lvl7pPr>
      <a:lvl8pPr marL="17549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8pPr>
      <a:lvl9pPr marL="2097881" indent="-101204" algn="l" defTabSz="704850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charset="0"/>
        <a:buChar char="-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99" userDrawn="1">
          <p15:clr>
            <a:srgbClr val="F26B43"/>
          </p15:clr>
        </p15:guide>
        <p15:guide id="4" orient="horz" pos="61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3861" userDrawn="1">
          <p15:clr>
            <a:srgbClr val="F26B43"/>
          </p15:clr>
        </p15:guide>
        <p15:guide id="7" pos="7287" userDrawn="1">
          <p15:clr>
            <a:srgbClr val="F26B43"/>
          </p15:clr>
        </p15:guide>
        <p15:guide id="8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9466A-0BEF-485D-B4F0-B195F1922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Outfit" pitchFamily="2" charset="0"/>
                <a:ea typeface="ＭＳ Ｐゴシック" charset="-128"/>
              </a:rPr>
              <a:t>Business Plan Templat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86DC42D-35BA-40E6-8521-399A97E382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800" dirty="0"/>
              <a:t>Nom de </a:t>
            </a:r>
            <a:r>
              <a:rPr lang="en-US" sz="2800" dirty="0" err="1"/>
              <a:t>votre</a:t>
            </a:r>
            <a:r>
              <a:rPr lang="en-US" sz="2800" dirty="0"/>
              <a:t> </a:t>
            </a:r>
            <a:r>
              <a:rPr lang="en-US" sz="2800" dirty="0" err="1"/>
              <a:t>projet</a:t>
            </a:r>
            <a:endParaRPr lang="en-US" sz="2800" dirty="0"/>
          </a:p>
          <a:p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8200479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4495C63-DE14-44F3-A5CA-E211C5BF7A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+mj-lt"/>
              </a:rPr>
              <a:t>Différentiation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6C25CA0-D56E-4727-8BDF-9ECA0553E8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B627587-5BA3-4A5E-96F7-5D4033A22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3B7FBF-A8A7-42E3-936F-73D4D285BC1E}"/>
              </a:ext>
            </a:extLst>
          </p:cNvPr>
          <p:cNvSpPr txBox="1">
            <a:spLocks/>
          </p:cNvSpPr>
          <p:nvPr/>
        </p:nvSpPr>
        <p:spPr>
          <a:xfrm>
            <a:off x="351692" y="1398466"/>
            <a:ext cx="9706708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Décrivez  pourquoi la solution que vous proposez est meilleure que les solutions existantes</a:t>
            </a:r>
          </a:p>
          <a:p>
            <a:pPr marL="0" indent="0">
              <a:buNone/>
            </a:pPr>
            <a:endParaRPr lang="fr-FR" altLang="fr-FR" kern="0" dirty="0">
              <a:latin typeface="+mj-lt"/>
            </a:endParaRPr>
          </a:p>
          <a:p>
            <a:pPr lvl="1"/>
            <a:r>
              <a:rPr lang="fr-FR" altLang="fr-FR" kern="0" dirty="0">
                <a:latin typeface="+mj-lt"/>
              </a:rPr>
              <a:t>Est-elle moins  chère, plus rapide, meilleure, plus accessible, plus facile à utiliser…?</a:t>
            </a:r>
          </a:p>
          <a:p>
            <a:pPr>
              <a:buFont typeface="Wingdings 3" charset="2"/>
              <a:buNone/>
            </a:pPr>
            <a:endParaRPr lang="fr-FR" altLang="fr-FR" kern="0" dirty="0">
              <a:latin typeface="+mj-lt"/>
            </a:endParaRPr>
          </a:p>
          <a:p>
            <a:endParaRPr lang="fr-FR" alt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6876433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140FEC9-AF05-4CD8-B0FF-79E202D28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+mj-lt"/>
              </a:rPr>
              <a:t>Stratégie de conquête du marché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5E525A5-7AE4-4666-A1CD-412C16D4DA1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221DE1A-643F-4C9A-B38B-858D66898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F9343A7-0AFB-4DCE-BB91-8A8BC17BFE96}"/>
              </a:ext>
            </a:extLst>
          </p:cNvPr>
          <p:cNvSpPr txBox="1">
            <a:spLocks/>
          </p:cNvSpPr>
          <p:nvPr/>
        </p:nvSpPr>
        <p:spPr>
          <a:xfrm>
            <a:off x="351692" y="1614161"/>
            <a:ext cx="8436708" cy="3898744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Décrivez la manière dont vous allez atteindre la clientèl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Vente directe</a:t>
            </a:r>
            <a:endParaRPr lang="fr-FR" kern="0" dirty="0">
              <a:solidFill>
                <a:srgbClr val="FF0000"/>
              </a:solidFill>
              <a:latin typeface="+mj-lt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Vente indirecte</a:t>
            </a:r>
            <a:endParaRPr lang="fr-FR" kern="0" dirty="0">
              <a:solidFill>
                <a:srgbClr val="FF0000"/>
              </a:solidFill>
              <a:latin typeface="+mj-lt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Via des distributeur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Vente en lign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Travailler en coopération avec des partenair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…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671492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18A875-CD6F-46F9-BE9C-6B4BE6373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200" dirty="0">
                <a:latin typeface="+mj-lt"/>
              </a:rPr>
              <a:t>Modèle de business</a:t>
            </a:r>
            <a:endParaRPr lang="fr-FR" sz="32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DBDF9E9-7F44-4873-AEC4-4E363A03109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495426C-6864-465A-BF38-3D25F50D0E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4B0BCB4-D961-4D17-B33D-C58E6D58B774}"/>
              </a:ext>
            </a:extLst>
          </p:cNvPr>
          <p:cNvSpPr txBox="1">
            <a:spLocks/>
          </p:cNvSpPr>
          <p:nvPr/>
        </p:nvSpPr>
        <p:spPr>
          <a:xfrm>
            <a:off x="470962" y="1594607"/>
            <a:ext cx="8436708" cy="4368872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Décrivez  comment vous ferez payer vos solutions</a:t>
            </a:r>
            <a:endParaRPr lang="fr-FR" sz="1000" kern="0" dirty="0">
              <a:latin typeface="+mj-lt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Paiement d’une licence définitive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Modèle de location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Modèle de subvention</a:t>
            </a:r>
          </a:p>
          <a:p>
            <a:pPr fontAlgn="auto">
              <a:spcAft>
                <a:spcPts val="0"/>
              </a:spcAft>
              <a:buFont typeface="Wingdings 3" charset="2"/>
              <a:buNone/>
              <a:defRPr/>
            </a:pPr>
            <a:endParaRPr lang="fr-FR" kern="0" dirty="0">
              <a:latin typeface="+mj-lt"/>
            </a:endParaRPr>
          </a:p>
          <a:p>
            <a:pPr lvl="1" fontAlgn="auto"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endParaRPr 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94898488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4E7B62-CC35-4936-A67C-626E8EB418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+mj-lt"/>
              </a:rPr>
              <a:t>Financements détaillés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9457ECF-3EC2-4983-BD60-0EEBA9C88BB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56529DF-2C27-40A6-A015-7581BA04D3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386618A-0C6F-4B75-BA3B-73F557576865}"/>
              </a:ext>
            </a:extLst>
          </p:cNvPr>
          <p:cNvSpPr txBox="1">
            <a:spLocks/>
          </p:cNvSpPr>
          <p:nvPr/>
        </p:nvSpPr>
        <p:spPr>
          <a:xfrm>
            <a:off x="761999" y="1391479"/>
            <a:ext cx="8567927" cy="4663454"/>
          </a:xfrm>
          <a:prstGeom prst="rect">
            <a:avLst/>
          </a:prstGeom>
        </p:spPr>
        <p:txBody>
          <a:bodyPr rtlCol="0">
            <a:normAutofit fontScale="77500" lnSpcReduction="20000"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Indiquez les financements détaillés pour les 3, voire les 5 prochaines années (chiffres annuels)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Chiffre d’affair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Coûts des biens vendu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Marges brute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Coûts de R &amp; D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Coûts de vente et de marketing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Coûts globaux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Résultats bru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Amortissements et impô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Résultats nets</a:t>
            </a:r>
          </a:p>
          <a:p>
            <a:pPr fontAlgn="auto">
              <a:spcAft>
                <a:spcPts val="0"/>
              </a:spcAft>
              <a:defRPr/>
            </a:pPr>
            <a:r>
              <a:rPr lang="fr-FR" sz="2400" kern="0" dirty="0">
                <a:latin typeface="+mj-lt"/>
              </a:rPr>
              <a:t>Dépenses d’investissement</a:t>
            </a:r>
            <a:endParaRPr lang="fr-FR" sz="2100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60792733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7CBFEF-B2FD-4170-9294-9F9EC347F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+mj-lt"/>
              </a:rPr>
              <a:t>Statut de l’entreprise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6A2DD8A-CDFC-47ED-AD68-809EAA94506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D819C65-B02C-46A1-B9D1-48867E9B8F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8E97468-593D-4B85-A5B7-2EE2C45E8CA9}"/>
              </a:ext>
            </a:extLst>
          </p:cNvPr>
          <p:cNvSpPr txBox="1">
            <a:spLocks/>
          </p:cNvSpPr>
          <p:nvPr/>
        </p:nvSpPr>
        <p:spPr>
          <a:xfrm>
            <a:off x="351692" y="1594605"/>
            <a:ext cx="10607856" cy="3162925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Indiquez si vous avez déjà créé l’entreprise, si vous êtes labélisé, si vous avez </a:t>
            </a:r>
          </a:p>
          <a:p>
            <a:pPr marL="0" indent="0">
              <a:buNone/>
            </a:pPr>
            <a:r>
              <a:rPr lang="fr-FR" altLang="fr-FR" kern="0" dirty="0">
                <a:latin typeface="+mj-lt"/>
              </a:rPr>
              <a:t>  obtenu un quelconque financement. </a:t>
            </a:r>
          </a:p>
        </p:txBody>
      </p:sp>
    </p:spTree>
    <p:extLst>
      <p:ext uri="{BB962C8B-B14F-4D97-AF65-F5344CB8AC3E}">
        <p14:creationId xmlns:p14="http://schemas.microsoft.com/office/powerpoint/2010/main" val="90970202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42777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B4CF37-010E-D706-DF9E-1699AA1F8B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0E06F-3EF1-045D-1323-5A12CC36D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3AC5434-6F48-42D5-9174-F3855C5EE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50034"/>
            <a:ext cx="6228522" cy="914400"/>
          </a:xfrm>
        </p:spPr>
        <p:txBody>
          <a:bodyPr/>
          <a:lstStyle/>
          <a:p>
            <a:r>
              <a:rPr lang="fr-FR" altLang="fr-FR" sz="3600" dirty="0">
                <a:latin typeface="+mj-lt"/>
              </a:rPr>
              <a:t>        Table des matières</a:t>
            </a:r>
            <a:endParaRPr lang="en-US" sz="3600" dirty="0">
              <a:latin typeface="+mj-lt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7C4EE73-062C-44C9-BB0D-9FCABDE54653}"/>
              </a:ext>
            </a:extLst>
          </p:cNvPr>
          <p:cNvSpPr txBox="1">
            <a:spLocks/>
          </p:cNvSpPr>
          <p:nvPr/>
        </p:nvSpPr>
        <p:spPr>
          <a:xfrm>
            <a:off x="442913" y="1219199"/>
            <a:ext cx="7746930" cy="4952034"/>
          </a:xfrm>
          <a:prstGeom prst="rect">
            <a:avLst/>
          </a:prstGeom>
        </p:spPr>
        <p:txBody>
          <a:bodyPr rtlCol="0">
            <a:normAutofit fontScale="85000" lnSpcReduction="20000"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>
                <a:latin typeface="+mj-lt"/>
              </a:rPr>
              <a:t>Biographies de l’équipe </a:t>
            </a:r>
          </a:p>
          <a:p>
            <a:r>
              <a:rPr lang="fr-FR" dirty="0">
                <a:latin typeface="+mj-lt"/>
              </a:rPr>
              <a:t>Définition de la solution et problématique à résoudre </a:t>
            </a:r>
          </a:p>
          <a:p>
            <a:r>
              <a:rPr lang="fr-FR" dirty="0">
                <a:latin typeface="+mj-lt"/>
              </a:rPr>
              <a:t>Solutions actuelles et solutions proposées</a:t>
            </a:r>
          </a:p>
          <a:p>
            <a:r>
              <a:rPr lang="fr-FR" dirty="0">
                <a:latin typeface="+mj-lt"/>
              </a:rPr>
              <a:t>Taille de marché </a:t>
            </a:r>
          </a:p>
          <a:p>
            <a:r>
              <a:rPr lang="fr-FR" dirty="0">
                <a:latin typeface="+mj-lt"/>
              </a:rPr>
              <a:t>Stratégie de conquête du marché</a:t>
            </a:r>
          </a:p>
          <a:p>
            <a:r>
              <a:rPr lang="fr-FR" dirty="0">
                <a:latin typeface="+mj-lt"/>
              </a:rPr>
              <a:t>Feuille de route du produit</a:t>
            </a:r>
          </a:p>
          <a:p>
            <a:r>
              <a:rPr lang="fr-FR" dirty="0">
                <a:latin typeface="+mj-lt"/>
              </a:rPr>
              <a:t>Clientèle ciblée</a:t>
            </a:r>
          </a:p>
          <a:p>
            <a:r>
              <a:rPr lang="fr-FR" dirty="0">
                <a:latin typeface="+mj-lt"/>
              </a:rPr>
              <a:t>Cartographie concurrentielle</a:t>
            </a:r>
          </a:p>
          <a:p>
            <a:r>
              <a:rPr lang="fr-FR" dirty="0">
                <a:latin typeface="+mj-lt"/>
              </a:rPr>
              <a:t>Différenciation                                 </a:t>
            </a:r>
          </a:p>
          <a:p>
            <a:r>
              <a:rPr lang="fr-FR" dirty="0">
                <a:latin typeface="+mj-lt"/>
              </a:rPr>
              <a:t>Modèle de business plan              </a:t>
            </a:r>
          </a:p>
          <a:p>
            <a:r>
              <a:rPr lang="fr-FR" dirty="0">
                <a:latin typeface="+mj-lt"/>
              </a:rPr>
              <a:t>Financements détaillés                 </a:t>
            </a:r>
          </a:p>
          <a:p>
            <a:r>
              <a:rPr lang="fr-FR" dirty="0">
                <a:latin typeface="+mj-lt"/>
              </a:rPr>
              <a:t>Statut de l’entreprise.  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fr-FR" sz="2400" kern="0" dirty="0">
              <a:latin typeface="+mj-lt"/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fr-FR" sz="2400" b="1" kern="0" dirty="0">
                <a:latin typeface="+mj-lt"/>
              </a:rPr>
              <a:t>                                                Max: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196505176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B4CF37-010E-D706-DF9E-1699AA1F8B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20E06F-3EF1-045D-1323-5A12CC36D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3AC5434-6F48-42D5-9174-F3855C5EE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50034"/>
            <a:ext cx="6228522" cy="914400"/>
          </a:xfrm>
        </p:spPr>
        <p:txBody>
          <a:bodyPr/>
          <a:lstStyle/>
          <a:p>
            <a:r>
              <a:rPr lang="fr-FR" altLang="fr-FR" sz="3600" dirty="0">
                <a:latin typeface="+mj-lt"/>
              </a:rPr>
              <a:t>Biographies de l’équipe</a:t>
            </a:r>
            <a:endParaRPr lang="en-US" sz="3600" dirty="0">
              <a:latin typeface="+mj-lt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258B16-0537-4F17-B4FF-998363C2B83A}"/>
              </a:ext>
            </a:extLst>
          </p:cNvPr>
          <p:cNvSpPr txBox="1">
            <a:spLocks/>
          </p:cNvSpPr>
          <p:nvPr/>
        </p:nvSpPr>
        <p:spPr>
          <a:xfrm>
            <a:off x="351692" y="1133424"/>
            <a:ext cx="8792308" cy="3292802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Brève description de chaque membre de l’équipe :</a:t>
            </a:r>
          </a:p>
          <a:p>
            <a:pPr marL="0" indent="0">
              <a:buNone/>
            </a:pPr>
            <a:endParaRPr lang="fr-FR" altLang="fr-FR" kern="0" dirty="0">
              <a:latin typeface="+mj-lt"/>
            </a:endParaRPr>
          </a:p>
          <a:p>
            <a:pPr lvl="1"/>
            <a:r>
              <a:rPr lang="fr-FR" altLang="fr-FR" kern="0" dirty="0">
                <a:latin typeface="+mj-lt"/>
              </a:rPr>
              <a:t>Formation</a:t>
            </a:r>
          </a:p>
          <a:p>
            <a:pPr lvl="1"/>
            <a:r>
              <a:rPr lang="fr-FR" altLang="fr-FR" kern="0" dirty="0">
                <a:latin typeface="+mj-lt"/>
              </a:rPr>
              <a:t>Expérience professionnelle</a:t>
            </a:r>
          </a:p>
          <a:p>
            <a:pPr lvl="1"/>
            <a:r>
              <a:rPr lang="fr-FR" altLang="fr-FR" kern="0" dirty="0">
                <a:latin typeface="+mj-lt"/>
              </a:rPr>
              <a:t>Expertise</a:t>
            </a:r>
          </a:p>
          <a:p>
            <a:pPr lvl="1">
              <a:buFont typeface="Arial" panose="020B0604020202020204" pitchFamily="34" charset="0"/>
              <a:buNone/>
            </a:pPr>
            <a:endParaRPr lang="fr-FR" altLang="fr-FR" kern="0" dirty="0">
              <a:latin typeface="+mj-lt"/>
            </a:endParaRPr>
          </a:p>
          <a:p>
            <a:pPr lvl="1">
              <a:buFont typeface="Arial" panose="020B0604020202020204" pitchFamily="34" charset="0"/>
              <a:buNone/>
            </a:pPr>
            <a:r>
              <a:rPr lang="fr-FR" altLang="fr-FR" kern="0" dirty="0">
                <a:latin typeface="+mj-lt"/>
              </a:rPr>
              <a:t>La porteuse de projet est amenée à se présenter et mettre en avant le background de chaque membre de son équipe, y compris le sien. </a:t>
            </a:r>
          </a:p>
          <a:p>
            <a:pPr>
              <a:buFont typeface="Arial" panose="020B0604020202020204" pitchFamily="34" charset="0"/>
              <a:buNone/>
            </a:pPr>
            <a:endParaRPr lang="fr-FR" alt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865550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C931632-D978-484C-A821-C5918E0D090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09DF91E-8FB5-40A0-9BC5-F1C1A62B4F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3C7A660C-D282-4A67-A31A-36BF0380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589" y="66675"/>
            <a:ext cx="5764212" cy="914400"/>
          </a:xfrm>
        </p:spPr>
        <p:txBody>
          <a:bodyPr/>
          <a:lstStyle/>
          <a:p>
            <a:r>
              <a:rPr lang="fr-FR" altLang="fr-FR" sz="3600" dirty="0">
                <a:latin typeface="+mj-lt"/>
              </a:rPr>
              <a:t>Besoins du marché</a:t>
            </a:r>
            <a:endParaRPr lang="en-US" sz="3600" dirty="0">
              <a:latin typeface="+mj-lt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75A501A-F319-4ECE-8BE5-7B0C8144521B}"/>
              </a:ext>
            </a:extLst>
          </p:cNvPr>
          <p:cNvSpPr txBox="1">
            <a:spLocks/>
          </p:cNvSpPr>
          <p:nvPr/>
        </p:nvSpPr>
        <p:spPr>
          <a:xfrm>
            <a:off x="636104" y="1285462"/>
            <a:ext cx="10919792" cy="2411895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Décrivez  la demande actuelle sur le marché pour la solution particulière que vous proposez. </a:t>
            </a:r>
          </a:p>
          <a:p>
            <a:endParaRPr lang="fr-FR" alt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8195886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612E11-373C-4792-B183-131E654A2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+mj-lt"/>
              </a:rPr>
              <a:t>Solutions actuelles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6A0E19A-CC51-4BFA-BE51-0B82158723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3146250-3B15-4736-9CD7-3B8BE2CEE1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F29B510-1597-474B-95D7-98E4D89533F5}"/>
              </a:ext>
            </a:extLst>
          </p:cNvPr>
          <p:cNvSpPr txBox="1">
            <a:spLocks/>
          </p:cNvSpPr>
          <p:nvPr/>
        </p:nvSpPr>
        <p:spPr>
          <a:xfrm>
            <a:off x="636104" y="1285463"/>
            <a:ext cx="10283687" cy="2345634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Décrivez quelles solutions actuelles sont disponibles pour répondre aux besoins du marché définis ci-dessus</a:t>
            </a:r>
          </a:p>
          <a:p>
            <a:pPr marL="0" indent="0">
              <a:buNone/>
            </a:pPr>
            <a:endParaRPr lang="fr-FR" altLang="fr-FR" kern="0" dirty="0">
              <a:latin typeface="+mj-lt"/>
            </a:endParaRPr>
          </a:p>
          <a:p>
            <a:pPr lvl="1"/>
            <a:r>
              <a:rPr lang="fr-FR" altLang="fr-FR" kern="0" dirty="0">
                <a:latin typeface="+mj-lt"/>
              </a:rPr>
              <a:t>Et  pourquoi ces solutions ne sont-elles pas assez satisfaisantes ou sont-elles trop chères ou encore ne sont-elles pas appréciées par les clients.</a:t>
            </a:r>
          </a:p>
          <a:p>
            <a:pPr>
              <a:buFont typeface="Wingdings 3" charset="2"/>
              <a:buNone/>
            </a:pPr>
            <a:endParaRPr lang="fr-FR" alt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114857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DCD8948-6A8C-429F-B49F-1DF02C38C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66660"/>
            <a:ext cx="6506818" cy="914400"/>
          </a:xfrm>
        </p:spPr>
        <p:txBody>
          <a:bodyPr/>
          <a:lstStyle/>
          <a:p>
            <a:r>
              <a:rPr lang="fr-FR" altLang="fr-FR" sz="3600" dirty="0">
                <a:latin typeface="+mj-lt"/>
              </a:rPr>
              <a:t>Solutions proposées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B15B181-95CF-4E3D-BFC5-4A691A6FEC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E36C75C-7884-4EA6-A66C-026C0AC969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93A52D8-2827-40F8-9AD8-1C3B975AB862}"/>
              </a:ext>
            </a:extLst>
          </p:cNvPr>
          <p:cNvSpPr txBox="1">
            <a:spLocks/>
          </p:cNvSpPr>
          <p:nvPr/>
        </p:nvSpPr>
        <p:spPr>
          <a:xfrm>
            <a:off x="1524000" y="1358711"/>
            <a:ext cx="9886122" cy="3796385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Décrivez  votre solution de technologie et comment celle-ci  répond aux besoins du marché défini ci-dessus en mettant en avant la valeur ajoutée de vos produits ou services. </a:t>
            </a:r>
          </a:p>
          <a:p>
            <a:pPr marL="0" indent="0">
              <a:buNone/>
            </a:pPr>
            <a:endParaRPr lang="fr-FR" altLang="fr-FR" kern="0" dirty="0">
              <a:latin typeface="+mj-lt"/>
            </a:endParaRPr>
          </a:p>
          <a:p>
            <a:pPr lvl="1"/>
            <a:r>
              <a:rPr lang="fr-FR" altLang="fr-FR" kern="0" dirty="0">
                <a:latin typeface="+mj-lt"/>
              </a:rPr>
              <a:t>Faîtes une description technique de votre solution.</a:t>
            </a:r>
          </a:p>
        </p:txBody>
      </p:sp>
    </p:spTree>
    <p:extLst>
      <p:ext uri="{BB962C8B-B14F-4D97-AF65-F5344CB8AC3E}">
        <p14:creationId xmlns:p14="http://schemas.microsoft.com/office/powerpoint/2010/main" val="394457206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64483A5-4D00-4372-991A-9B60FFEB2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66660"/>
            <a:ext cx="8547653" cy="914400"/>
          </a:xfrm>
        </p:spPr>
        <p:txBody>
          <a:bodyPr/>
          <a:lstStyle/>
          <a:p>
            <a:r>
              <a:rPr lang="fr-FR" altLang="fr-FR" sz="3600" dirty="0">
                <a:latin typeface="+mj-lt"/>
              </a:rPr>
              <a:t>Feuille de route du produit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39A7231-3FF1-43FA-A66C-B0592116F9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3B564ED-5AE2-46C3-9EF6-8D45B4BE1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1A3BD67-8B81-4619-8658-A82EEC82C7F3}"/>
              </a:ext>
            </a:extLst>
          </p:cNvPr>
          <p:cNvSpPr txBox="1">
            <a:spLocks/>
          </p:cNvSpPr>
          <p:nvPr/>
        </p:nvSpPr>
        <p:spPr>
          <a:xfrm>
            <a:off x="1460245" y="1460034"/>
            <a:ext cx="9308535" cy="4841927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Décrivez quel(s) produit(s) ou services vous avez l’intention  de développer.</a:t>
            </a:r>
          </a:p>
          <a:p>
            <a:pPr marL="0" indent="0">
              <a:buNone/>
            </a:pPr>
            <a:r>
              <a:rPr lang="fr-FR" altLang="fr-FR" kern="0" dirty="0">
                <a:latin typeface="+mj-lt"/>
              </a:rPr>
              <a:t> </a:t>
            </a:r>
          </a:p>
          <a:p>
            <a:r>
              <a:rPr lang="fr-FR" altLang="fr-FR" kern="0" dirty="0">
                <a:latin typeface="+mj-lt"/>
              </a:rPr>
              <a:t>Schématisez le cycle d’achat pour bien illustrer les différentes fonctionnalités du produit.</a:t>
            </a:r>
          </a:p>
        </p:txBody>
      </p:sp>
    </p:spTree>
    <p:extLst>
      <p:ext uri="{BB962C8B-B14F-4D97-AF65-F5344CB8AC3E}">
        <p14:creationId xmlns:p14="http://schemas.microsoft.com/office/powerpoint/2010/main" val="3076960930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2CBBD68-737C-4087-A341-4122FB42F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04" y="66660"/>
            <a:ext cx="6281531" cy="914400"/>
          </a:xfrm>
        </p:spPr>
        <p:txBody>
          <a:bodyPr/>
          <a:lstStyle/>
          <a:p>
            <a:r>
              <a:rPr lang="fr-FR" altLang="fr-FR" sz="3600" dirty="0">
                <a:latin typeface="+mj-lt"/>
              </a:rPr>
              <a:t>Clientèle ciblée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9EEC435-B2DC-4207-81B4-821AE056F28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447B0B3-EC41-4E2D-8629-F697BF0BFE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4A5A1BE-CCE6-4495-BDA2-D45DF107E28D}"/>
              </a:ext>
            </a:extLst>
          </p:cNvPr>
          <p:cNvSpPr txBox="1">
            <a:spLocks/>
          </p:cNvSpPr>
          <p:nvPr/>
        </p:nvSpPr>
        <p:spPr>
          <a:xfrm>
            <a:off x="351692" y="1133423"/>
            <a:ext cx="9680204" cy="4167447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Décrivez à quelle clientèle vous avez l’intention de vendre votre</a:t>
            </a:r>
            <a:r>
              <a:rPr lang="fr-FR" sz="1000" kern="0" dirty="0">
                <a:latin typeface="+mj-lt"/>
              </a:rPr>
              <a:t>  </a:t>
            </a:r>
            <a:r>
              <a:rPr lang="fr-FR" kern="0" dirty="0">
                <a:latin typeface="+mj-lt"/>
              </a:rPr>
              <a:t>solution:</a:t>
            </a:r>
          </a:p>
          <a:p>
            <a:pPr fontAlgn="auto">
              <a:spcAft>
                <a:spcPts val="0"/>
              </a:spcAft>
              <a:defRPr/>
            </a:pPr>
            <a:endParaRPr lang="fr-FR" sz="300" kern="0" dirty="0">
              <a:latin typeface="+mj-lt"/>
            </a:endParaRPr>
          </a:p>
          <a:p>
            <a:pPr fontAlgn="auto">
              <a:spcAft>
                <a:spcPts val="0"/>
              </a:spcAft>
              <a:defRPr/>
            </a:pPr>
            <a:endParaRPr lang="fr-FR" sz="300" kern="0" dirty="0">
              <a:latin typeface="+mj-lt"/>
            </a:endParaRP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Localisation géographique du marché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Industrie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Taille des clients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Particuliers versus  professionnels versus administrations/gouvernement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Nombre de clients existants</a:t>
            </a:r>
          </a:p>
          <a:p>
            <a:pPr marL="538163" lvl="1" fontAlgn="auto">
              <a:spcAft>
                <a:spcPts val="0"/>
              </a:spcAft>
              <a:defRPr/>
            </a:pPr>
            <a:r>
              <a:rPr lang="fr-FR" kern="0" dirty="0">
                <a:latin typeface="+mj-lt"/>
              </a:rPr>
              <a:t>Taille du marché</a:t>
            </a:r>
            <a:endParaRPr lang="fr-FR" sz="800" kern="0" dirty="0">
              <a:latin typeface="+mj-lt"/>
            </a:endParaRPr>
          </a:p>
          <a:p>
            <a:pPr lvl="1" fontAlgn="auto">
              <a:spcAft>
                <a:spcPts val="0"/>
              </a:spcAft>
              <a:buFont typeface="Arial" panose="020B0604020202020204" pitchFamily="34" charset="0"/>
              <a:buChar char="–"/>
              <a:defRPr/>
            </a:pPr>
            <a:endParaRPr 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30396317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E19058-1F49-44A2-A360-6C49C1176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sz="3600" dirty="0">
                <a:latin typeface="+mj-lt"/>
              </a:rPr>
              <a:t>Les concurrents</a:t>
            </a:r>
            <a:endParaRPr lang="fr-FR" sz="3600" dirty="0">
              <a:latin typeface="+mj-lt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408ED49-8D8F-42FD-931E-742E11C9DDA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C424C80-5DCD-4620-8490-2768F33C7AE6}" type="datetime3">
              <a:rPr lang="en-US" smtClean="0"/>
              <a:t>25 February 2025</a:t>
            </a:fld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6392B6-EDDC-4999-8B01-1BAAE36E36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9F4C691-6DE9-424C-9C34-B44F65CDDA1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FFC3657-D831-4BD9-9F37-CB2D1CD9D400}"/>
              </a:ext>
            </a:extLst>
          </p:cNvPr>
          <p:cNvSpPr txBox="1">
            <a:spLocks/>
          </p:cNvSpPr>
          <p:nvPr/>
        </p:nvSpPr>
        <p:spPr>
          <a:xfrm>
            <a:off x="1080562" y="1594605"/>
            <a:ext cx="8436708" cy="3746021"/>
          </a:xfrm>
          <a:prstGeom prst="rect">
            <a:avLst/>
          </a:prstGeom>
        </p:spPr>
        <p:txBody>
          <a:bodyPr/>
          <a:lstStyle>
            <a:lvl1pPr marL="274320" indent="-274320" algn="l" defTabSz="704850" rtl="0" eaLnBrk="1" fontAlgn="base" hangingPunct="1">
              <a:lnSpc>
                <a:spcPct val="100000"/>
              </a:lnSpc>
              <a:spcBef>
                <a:spcPts val="13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6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Noto Sans" panose="020B0502040504020204" pitchFamily="34" charset="0"/>
              </a:defRPr>
            </a:lvl1pPr>
            <a:lvl2pPr marL="351235" indent="-214313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4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2pPr>
            <a:lvl3pPr marL="398859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3pPr>
            <a:lvl4pPr marL="534591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</a:defRPr>
            </a:lvl4pPr>
            <a:lvl5pPr marL="753665" indent="-128588" algn="l" defTabSz="704850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rgbClr val="ED1C24"/>
              </a:buClr>
              <a:buSzPct val="140000"/>
              <a:buFont typeface="Arial" panose="020B0604020202020204" pitchFamily="34" charset="0"/>
              <a:buChar char="•"/>
              <a:defRPr lang="en-US" sz="1000" i="0" kern="1200" dirty="0">
                <a:solidFill>
                  <a:schemeClr val="tx1"/>
                </a:solidFill>
                <a:latin typeface="Noto Sans" panose="020B0502040504020204" pitchFamily="34" charset="0"/>
                <a:ea typeface="ＭＳ Ｐゴシック" pitchFamily="-109" charset="-128"/>
                <a:cs typeface="Arial" charset="0"/>
              </a:defRPr>
            </a:lvl5pPr>
            <a:lvl6pPr marL="10691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14120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 b="0" i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17549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8pPr>
            <a:lvl9pPr marL="2097881" indent="-101204" algn="l" defTabSz="704850" rtl="0" eaLnBrk="1" fontAlgn="base" hangingPunct="1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altLang="fr-FR" kern="0" dirty="0">
                <a:latin typeface="+mj-lt"/>
              </a:rPr>
              <a:t>Indiquez  qui sont vos concurrents et quelles sont les offres qu’ils proposent tout en vous positionnant par rapport à eux. </a:t>
            </a:r>
          </a:p>
          <a:p>
            <a:endParaRPr lang="fr-FR" altLang="fr-FR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3704715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8.05_20170507_Ooredoo_template_4x3 ratio_v12">
  <a:themeElements>
    <a:clrScheme name="OOREDOO OLD">
      <a:dk1>
        <a:srgbClr val="221E20"/>
      </a:dk1>
      <a:lt1>
        <a:srgbClr val="FFFFFF"/>
      </a:lt1>
      <a:dk2>
        <a:srgbClr val="00416A"/>
      </a:dk2>
      <a:lt2>
        <a:srgbClr val="DFDFE1"/>
      </a:lt2>
      <a:accent1>
        <a:srgbClr val="ED1C24"/>
      </a:accent1>
      <a:accent2>
        <a:srgbClr val="333F48"/>
      </a:accent2>
      <a:accent3>
        <a:srgbClr val="65C4DB"/>
      </a:accent3>
      <a:accent4>
        <a:srgbClr val="99CC00"/>
      </a:accent4>
      <a:accent5>
        <a:srgbClr val="EA9600"/>
      </a:accent5>
      <a:accent6>
        <a:srgbClr val="FFD500"/>
      </a:accent6>
      <a:hlink>
        <a:srgbClr val="2CD5C4"/>
      </a:hlink>
      <a:folHlink>
        <a:srgbClr val="F5A992"/>
      </a:folHlink>
    </a:clrScheme>
    <a:fontScheme name="Custom 43">
      <a:majorFont>
        <a:latin typeface="Rubik"/>
        <a:ea typeface=""/>
        <a:cs typeface="OoredooArabic-Heavy"/>
      </a:majorFont>
      <a:minorFont>
        <a:latin typeface="Noto Sans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D1C24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79488" rtl="0" eaLnBrk="1" fontAlgn="base" latinLnBrk="0" hangingPunct="1">
          <a:lnSpc>
            <a:spcPct val="110000"/>
          </a:lnSpc>
          <a:spcBef>
            <a:spcPts val="6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0" sz="16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noFill/>
        <a:ln w="19050" cap="flat" cmpd="sng" algn="ctr">
          <a:solidFill>
            <a:srgbClr val="ED1C2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spcBef>
            <a:spcPts val="0"/>
          </a:spcBef>
          <a:spcAft>
            <a:spcPts val="0"/>
          </a:spcAft>
          <a:buClr>
            <a:srgbClr val="ED1C24"/>
          </a:buClr>
          <a:buSzPct val="140000"/>
          <a:defRPr sz="1200" smtClean="0">
            <a:solidFill>
              <a:srgbClr val="000000"/>
            </a:solidFill>
            <a:latin typeface="Noto Sans" panose="020B0502040504020204" pitchFamily="34" charset="0"/>
          </a:defRPr>
        </a:defPPr>
      </a:lstStyle>
    </a:txDef>
  </a:objectDefaults>
  <a:extraClrSchemeLst>
    <a:extraClrScheme>
      <a:clrScheme name="Blank 1">
        <a:dk1>
          <a:srgbClr val="3F3F3F"/>
        </a:dk1>
        <a:lt1>
          <a:srgbClr val="FFFFFF"/>
        </a:lt1>
        <a:dk2>
          <a:srgbClr val="FDE48B"/>
        </a:dk2>
        <a:lt2>
          <a:srgbClr val="888888"/>
        </a:lt2>
        <a:accent1>
          <a:srgbClr val="7FABD2"/>
        </a:accent1>
        <a:accent2>
          <a:srgbClr val="FCC917"/>
        </a:accent2>
        <a:accent3>
          <a:srgbClr val="FFFFFF"/>
        </a:accent3>
        <a:accent4>
          <a:srgbClr val="343434"/>
        </a:accent4>
        <a:accent5>
          <a:srgbClr val="C0D2E5"/>
        </a:accent5>
        <a:accent6>
          <a:srgbClr val="E4B614"/>
        </a:accent6>
        <a:hlink>
          <a:srgbClr val="BFD5E9"/>
        </a:hlink>
        <a:folHlink>
          <a:srgbClr val="7BBE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1">
      <a:srgbClr val="F7EA48"/>
    </a:custClr>
    <a:custClr name="C2">
      <a:srgbClr val="FFBF3F"/>
    </a:custClr>
    <a:custClr name="C3">
      <a:srgbClr val="FA4616"/>
    </a:custClr>
    <a:custClr name="C4">
      <a:srgbClr val="ECB3CB"/>
    </a:custClr>
    <a:custClr name="C5">
      <a:srgbClr val="EB6FBD"/>
    </a:custClr>
    <a:custClr name="C6">
      <a:srgbClr val="D64C97"/>
    </a:custClr>
    <a:custClr name="C7">
      <a:srgbClr val="840B55"/>
    </a:custClr>
    <a:custClr name="C20">
      <a:srgbClr val="BCA2CD"/>
    </a:custClr>
    <a:custClr name="C18">
      <a:srgbClr val="AC4FBD"/>
    </a:custClr>
    <a:custClr name="C19">
      <a:srgbClr val="3C1053"/>
    </a:custClr>
    <a:custClr name="C8">
      <a:srgbClr val="8DC8E8"/>
    </a:custClr>
    <a:custClr name="C9">
      <a:srgbClr val="13AFEE"/>
    </a:custClr>
    <a:custClr name="C10">
      <a:srgbClr val="001E60"/>
    </a:custClr>
    <a:custClr name="C11">
      <a:srgbClr val="9BD7D3"/>
    </a:custClr>
    <a:custClr name="C15">
      <a:srgbClr val="B3D99E"/>
    </a:custClr>
    <a:custClr name="C14">
      <a:srgbClr val="78BE20"/>
    </a:custClr>
    <a:custClr name="C17">
      <a:srgbClr val="64A70B"/>
    </a:custClr>
    <a:custClr name="C12">
      <a:srgbClr val="00C7B1"/>
    </a:custClr>
    <a:custClr name="C16">
      <a:srgbClr val="046A38"/>
    </a:custClr>
    <a:custClr name="C13">
      <a:srgbClr val="004E42"/>
    </a:custClr>
    <a:custClr name="C23">
      <a:srgbClr val="A6BBC8"/>
    </a:custClr>
    <a:custClr name="C22">
      <a:srgbClr val="425563"/>
    </a:custClr>
    <a:custClr name="C25">
      <a:srgbClr val="CDB5A7"/>
    </a:custClr>
    <a:custClr name="C24">
      <a:srgbClr val="83786F"/>
    </a:custClr>
  </a:custClrLst>
  <a:extLst>
    <a:ext uri="{05A4C25C-085E-4340-85A3-A5531E510DB2}">
      <thm15:themeFamily xmlns:thm15="http://schemas.microsoft.com/office/thememl/2012/main" name="TEMPLATE OOREDOO_040922 [Lecture seule]" id="{212816BB-D767-42BC-B49E-7702AE189B55}" vid="{C57ACB6C-B67E-4280-9906-8DD79C5F0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1A9E4932BA174BBCD6A4A4F028F96F" ma:contentTypeVersion="14" ma:contentTypeDescription="Create a new document." ma:contentTypeScope="" ma:versionID="d5c3f14d0bb590ebd9f833e178653ef5">
  <xsd:schema xmlns:xsd="http://www.w3.org/2001/XMLSchema" xmlns:xs="http://www.w3.org/2001/XMLSchema" xmlns:p="http://schemas.microsoft.com/office/2006/metadata/properties" xmlns:ns2="8553f85c-2140-41fd-927f-4e7c6dc2d23b" xmlns:ns3="779144b8-0ba4-45d2-98b8-9b7ee9b99d15" targetNamespace="http://schemas.microsoft.com/office/2006/metadata/properties" ma:root="true" ma:fieldsID="44d4dcc799133b03cbca001a258ad66b" ns2:_="" ns3:_="">
    <xsd:import namespace="8553f85c-2140-41fd-927f-4e7c6dc2d23b"/>
    <xsd:import namespace="779144b8-0ba4-45d2-98b8-9b7ee9b99d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53f85c-2140-41fd-927f-4e7c6dc2d2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607c7a8d-70f1-4e74-8305-1ff3e7e75b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9144b8-0ba4-45d2-98b8-9b7ee9b99d1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92e34d4b-ae2f-4848-bd6c-453fc879838f}" ma:internalName="TaxCatchAll" ma:showField="CatchAllData" ma:web="779144b8-0ba4-45d2-98b8-9b7ee9b99d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553f85c-2140-41fd-927f-4e7c6dc2d23b">
      <Terms xmlns="http://schemas.microsoft.com/office/infopath/2007/PartnerControls"/>
    </lcf76f155ced4ddcb4097134ff3c332f>
    <TaxCatchAll xmlns="779144b8-0ba4-45d2-98b8-9b7ee9b99d15" xsi:nil="true"/>
  </documentManagement>
</p:properties>
</file>

<file path=customXml/itemProps1.xml><?xml version="1.0" encoding="utf-8"?>
<ds:datastoreItem xmlns:ds="http://schemas.openxmlformats.org/officeDocument/2006/customXml" ds:itemID="{C031B5EA-1EAE-441F-A69B-97875B1081CF}"/>
</file>

<file path=customXml/itemProps2.xml><?xml version="1.0" encoding="utf-8"?>
<ds:datastoreItem xmlns:ds="http://schemas.openxmlformats.org/officeDocument/2006/customXml" ds:itemID="{945125EB-A3E3-4DDA-9F64-50DC2B1F46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974A0B-00EF-4C52-89B3-39EE0348B7EA}">
  <ds:schemaRefs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8ea3651e-ccd1-419c-8aac-7d20600c18b9"/>
    <ds:schemaRef ds:uri="34b83fb1-aab1-4420-8adc-8a3d0b6d3b6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OOREDOO_040922</Template>
  <TotalTime>47</TotalTime>
  <Words>474</Words>
  <Application>Microsoft Office PowerPoint</Application>
  <PresentationFormat>Grand écran</PresentationFormat>
  <Paragraphs>109</Paragraphs>
  <Slides>15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6" baseType="lpstr">
      <vt:lpstr>Outfit</vt:lpstr>
      <vt:lpstr>Rubik</vt:lpstr>
      <vt:lpstr>Noto Sans</vt:lpstr>
      <vt:lpstr>Arial</vt:lpstr>
      <vt:lpstr>Wingdings 3</vt:lpstr>
      <vt:lpstr>Outfit ExtraBold</vt:lpstr>
      <vt:lpstr>Rubik SemiBold</vt:lpstr>
      <vt:lpstr>Calibri</vt:lpstr>
      <vt:lpstr>Wingdings</vt:lpstr>
      <vt:lpstr>08.05_20170507_Ooredoo_template_4x3 ratio_v12</vt:lpstr>
      <vt:lpstr>think-cell Slide</vt:lpstr>
      <vt:lpstr>Business Plan Template</vt:lpstr>
      <vt:lpstr>        Table des matières</vt:lpstr>
      <vt:lpstr>Biographies de l’équipe</vt:lpstr>
      <vt:lpstr>Besoins du marché</vt:lpstr>
      <vt:lpstr>Solutions actuelles</vt:lpstr>
      <vt:lpstr>Solutions proposées</vt:lpstr>
      <vt:lpstr>Feuille de route du produit</vt:lpstr>
      <vt:lpstr>Clientèle ciblée</vt:lpstr>
      <vt:lpstr>Les concurrents</vt:lpstr>
      <vt:lpstr>Différentiation</vt:lpstr>
      <vt:lpstr>Stratégie de conquête du marché</vt:lpstr>
      <vt:lpstr>Modèle de business</vt:lpstr>
      <vt:lpstr>Financements détaillés</vt:lpstr>
      <vt:lpstr>Statut de l’entreprise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Plan Template</dc:title>
  <dc:creator>Rym KOUAFI</dc:creator>
  <cp:lastModifiedBy>Sara HALLICHE</cp:lastModifiedBy>
  <cp:revision>6</cp:revision>
  <dcterms:created xsi:type="dcterms:W3CDTF">2023-05-03T14:54:41Z</dcterms:created>
  <dcterms:modified xsi:type="dcterms:W3CDTF">2025-02-25T09:3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1A9E4932BA174BBCD6A4A4F028F96F</vt:lpwstr>
  </property>
  <property fmtid="{D5CDD505-2E9C-101B-9397-08002B2CF9AE}" pid="3" name="MediaServiceImageTags">
    <vt:lpwstr/>
  </property>
  <property fmtid="{D5CDD505-2E9C-101B-9397-08002B2CF9AE}" pid="4" name="MSIP_Label_8b49b266-1ab9-41f3-8ca5-f5bccb742a55_Enabled">
    <vt:lpwstr>true</vt:lpwstr>
  </property>
  <property fmtid="{D5CDD505-2E9C-101B-9397-08002B2CF9AE}" pid="5" name="MSIP_Label_8b49b266-1ab9-41f3-8ca5-f5bccb742a55_SetDate">
    <vt:lpwstr>2022-09-04T10:09:18Z</vt:lpwstr>
  </property>
  <property fmtid="{D5CDD505-2E9C-101B-9397-08002B2CF9AE}" pid="6" name="MSIP_Label_8b49b266-1ab9-41f3-8ca5-f5bccb742a55_Method">
    <vt:lpwstr>Standard</vt:lpwstr>
  </property>
  <property fmtid="{D5CDD505-2E9C-101B-9397-08002B2CF9AE}" pid="7" name="MSIP_Label_8b49b266-1ab9-41f3-8ca5-f5bccb742a55_Name">
    <vt:lpwstr>Restricted</vt:lpwstr>
  </property>
  <property fmtid="{D5CDD505-2E9C-101B-9397-08002B2CF9AE}" pid="8" name="MSIP_Label_8b49b266-1ab9-41f3-8ca5-f5bccb742a55_SiteId">
    <vt:lpwstr>35ce61ea-2a69-4c72-837c-f38de143a7a3</vt:lpwstr>
  </property>
  <property fmtid="{D5CDD505-2E9C-101B-9397-08002B2CF9AE}" pid="9" name="MSIP_Label_8b49b266-1ab9-41f3-8ca5-f5bccb742a55_ActionId">
    <vt:lpwstr>c5712f19-c984-46dd-bab3-273478f32e4b</vt:lpwstr>
  </property>
  <property fmtid="{D5CDD505-2E9C-101B-9397-08002B2CF9AE}" pid="10" name="MSIP_Label_8b49b266-1ab9-41f3-8ca5-f5bccb742a55_ContentBits">
    <vt:lpwstr>1</vt:lpwstr>
  </property>
</Properties>
</file>